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70" r:id="rId2"/>
    <p:sldId id="285" r:id="rId3"/>
    <p:sldId id="282" r:id="rId4"/>
    <p:sldId id="286" r:id="rId5"/>
    <p:sldId id="258" r:id="rId6"/>
  </p:sldIdLst>
  <p:sldSz cx="9144000" cy="6858000" type="screen4x3"/>
  <p:notesSz cx="6985000" cy="9283700"/>
  <p:custDataLst>
    <p:tags r:id="rId9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C92"/>
    <a:srgbClr val="574E72"/>
    <a:srgbClr val="3FA0D4"/>
    <a:srgbClr val="DABE86"/>
    <a:srgbClr val="F0E5CF"/>
    <a:srgbClr val="E8D8B5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531" autoAdjust="0"/>
  </p:normalViewPr>
  <p:slideViewPr>
    <p:cSldViewPr>
      <p:cViewPr>
        <p:scale>
          <a:sx n="100" d="100"/>
          <a:sy n="100" d="100"/>
        </p:scale>
        <p:origin x="1891" y="-283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31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246" y="-90"/>
      </p:cViewPr>
      <p:guideLst>
        <p:guide orient="horz" pos="2924"/>
        <p:guide pos="22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3FDC46-102A-466C-AE8D-31180465617D}" type="datetimeFigureOut">
              <a:rPr lang="en-US" smtClean="0"/>
              <a:t>9/7/2016</a:t>
            </a:fld>
            <a:endParaRPr 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95605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7E9146-2619-4111-90A2-78C801A07F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11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956553" y="3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/>
          <a:lstStyle>
            <a:lvl1pPr algn="r">
              <a:defRPr sz="1200"/>
            </a:lvl1pPr>
          </a:lstStyle>
          <a:p>
            <a:fld id="{21BA8A37-FD1C-4595-A154-124D751F7403}" type="datetimeFigureOut">
              <a:rPr lang="en-GB" smtClean="0"/>
              <a:t>07/09/2016</a:t>
            </a:fld>
            <a:endParaRPr lang="en-GB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69988" y="695325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3" tIns="46116" rIns="92233" bIns="46116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98501" y="4409760"/>
            <a:ext cx="5588000" cy="4177665"/>
          </a:xfrm>
          <a:prstGeom prst="rect">
            <a:avLst/>
          </a:prstGeom>
        </p:spPr>
        <p:txBody>
          <a:bodyPr vert="horz" lIns="92233" tIns="46116" rIns="92233" bIns="46116" rtlCol="0"/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956553" y="8817908"/>
            <a:ext cx="3026833" cy="464185"/>
          </a:xfrm>
          <a:prstGeom prst="rect">
            <a:avLst/>
          </a:prstGeom>
        </p:spPr>
        <p:txBody>
          <a:bodyPr vert="horz" lIns="92233" tIns="46116" rIns="92233" bIns="46116" rtlCol="0" anchor="b"/>
          <a:lstStyle>
            <a:lvl1pPr algn="r">
              <a:defRPr sz="1200"/>
            </a:lvl1pPr>
          </a:lstStyle>
          <a:p>
            <a:fld id="{CAD83EA7-6A8F-4EA2-A5B5-01282DE1CE0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5910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32021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972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63631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218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790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0" y="540000"/>
            <a:ext cx="9144000" cy="59852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4000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he title of the </a:t>
            </a:r>
            <a:r>
              <a:rPr lang="en-GB" noProof="0" dirty="0" err="1" smtClean="0"/>
              <a:t>Frontpage</a:t>
            </a:r>
            <a:endParaRPr lang="en-GB" noProof="0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1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540000"/>
            <a:ext cx="9144000" cy="4905224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 Bring the picture to the background.</a:t>
            </a:r>
            <a:r>
              <a:rPr lang="nl-NL" dirty="0" smtClean="0"/>
              <a:t>  </a:t>
            </a:r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0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0_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024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040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408711" y="1295776"/>
            <a:ext cx="2411761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3861048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6408712" y="3905721"/>
            <a:ext cx="2339752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Rechthoek 2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9040"/>
            <a:ext cx="5748962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3861048"/>
            <a:ext cx="576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081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3 x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49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81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noProof="0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27585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350132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328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idx="12" hasCustomPrompt="1"/>
          </p:nvPr>
        </p:nvSpPr>
        <p:spPr>
          <a:xfrm>
            <a:off x="6237864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3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816" y="3501008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275856" y="3501328"/>
            <a:ext cx="252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184" y="3512391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36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3 x text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685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310557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310558" y="5408930"/>
            <a:ext cx="25200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7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6237864" y="5408930"/>
            <a:ext cx="2510600" cy="97239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1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Rechthoek 21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310557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464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07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72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7" y="1268760"/>
            <a:ext cx="8366268" cy="511256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  <p:sp>
        <p:nvSpPr>
          <p:cNvPr id="11" name="Tijdelijke aanduiding voor tekst 3"/>
          <p:cNvSpPr>
            <a:spLocks noGrp="1"/>
          </p:cNvSpPr>
          <p:nvPr>
            <p:ph type="body" sz="quarter" idx="13" hasCustomPrompt="1"/>
          </p:nvPr>
        </p:nvSpPr>
        <p:spPr>
          <a:xfrm>
            <a:off x="755576" y="6597352"/>
            <a:ext cx="6192838" cy="21602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Optional – add presentation name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7318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79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hoek 14"/>
          <p:cNvSpPr>
            <a:spLocks/>
          </p:cNvSpPr>
          <p:nvPr userDrawn="1"/>
        </p:nvSpPr>
        <p:spPr>
          <a:xfrm>
            <a:off x="0" y="540000"/>
            <a:ext cx="9144000" cy="5985344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67544" y="2708920"/>
            <a:ext cx="3960440" cy="2232248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880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4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-9923" y="540000"/>
            <a:ext cx="9153923" cy="59932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hoek 7"/>
          <p:cNvSpPr/>
          <p:nvPr userDrawn="1"/>
        </p:nvSpPr>
        <p:spPr>
          <a:xfrm>
            <a:off x="-9923" y="540000"/>
            <a:ext cx="2893768" cy="5993208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 smtClean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chemeClr val="tx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2883844" y="540000"/>
            <a:ext cx="6260155" cy="5993208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noProof="0" dirty="0" smtClean="0"/>
              <a:t>Add Image to fill  the grey box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EXT</a:t>
            </a:r>
            <a:endParaRPr lang="en-GB" dirty="0"/>
          </a:p>
        </p:txBody>
      </p:sp>
      <p:pic>
        <p:nvPicPr>
          <p:cNvPr id="16" name="Afbeelding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303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221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51125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60000"/>
            <a:ext cx="9144000" cy="45161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5148464" y="1268760"/>
            <a:ext cx="3600000" cy="5112568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14,2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38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 +  2 x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85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</a:t>
            </a:r>
            <a:r>
              <a:rPr lang="en-GB" noProof="0" dirty="0" smtClean="0"/>
              <a:t>to</a:t>
            </a:r>
            <a:r>
              <a:rPr lang="en-GB" dirty="0" smtClean="0"/>
              <a:t> </a:t>
            </a:r>
            <a:r>
              <a:rPr lang="en-GB" noProof="0" dirty="0" smtClean="0"/>
              <a:t>add</a:t>
            </a:r>
            <a:r>
              <a:rPr lang="en-GB" dirty="0" smtClean="0"/>
              <a:t>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5151490" y="3429000"/>
            <a:ext cx="3596974" cy="27072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20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5151490" y="6021288"/>
            <a:ext cx="3596974" cy="28803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1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5" name="Tijdelijke aanduiding voor afbeelding 3"/>
          <p:cNvSpPr>
            <a:spLocks noGrp="1"/>
          </p:cNvSpPr>
          <p:nvPr>
            <p:ph type="pic" sz="quarter" idx="15" hasCustomPrompt="1"/>
          </p:nvPr>
        </p:nvSpPr>
        <p:spPr>
          <a:xfrm>
            <a:off x="5148464" y="1268760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6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6" name="Afbeelding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02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 + 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526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8352928" cy="117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2601328"/>
            <a:ext cx="8352928" cy="37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2601328"/>
            <a:ext cx="8352928" cy="37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23,2 x 10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83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6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0150" y="5877272"/>
            <a:ext cx="8424936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8760"/>
            <a:ext cx="8352928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8760"/>
            <a:ext cx="8352928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23,2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3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2 x Text + Images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825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3999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408782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2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Rechthoek 2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8" name="Rechte verbindingslijn 2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408782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0" name="Afbeelding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05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 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842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3251" y="5877272"/>
            <a:ext cx="3960000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hoek 13"/>
          <p:cNvSpPr/>
          <p:nvPr userDrawn="1"/>
        </p:nvSpPr>
        <p:spPr>
          <a:xfrm>
            <a:off x="4788464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5866470"/>
            <a:ext cx="3960000" cy="51485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caption</a:t>
            </a:r>
          </a:p>
          <a:p>
            <a:pPr lvl="0"/>
            <a:endParaRPr lang="en-GB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976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88464" y="126876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2" name="Afbeelding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61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2 x text +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617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95536" y="3861328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add text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 smtClean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  <a:endParaRPr lang="en-GB" sz="800" dirty="0">
              <a:solidFill>
                <a:srgbClr val="437C9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en-GB" dirty="0" smtClean="0"/>
              <a:t>Optional – add presentation name and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5155579" y="1268760"/>
            <a:ext cx="3592885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Add Image to fill the grey box. Image size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1" name="Afbeelding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000" y="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110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37405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27C83-F25A-433E-9E95-FC29404527FF}" type="datetimeFigureOut">
              <a:rPr lang="en-GB" smtClean="0"/>
              <a:pPr/>
              <a:t>07/09/2016</a:t>
            </a:fld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EBF997-F99C-4450-B7BA-8F6443997B9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9150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660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654" r:id="rId13"/>
    <p:sldLayoutId id="2147483793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357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yAllHillShadedWaterfall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Development Notes, August 2016</a:t>
            </a:r>
            <a:endParaRPr lang="en-GB" dirty="0"/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/>
          </p:nvPr>
        </p:nvSpPr>
        <p:spPr/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46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2996952"/>
            <a:ext cx="8728364" cy="196412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M710 Sample: 0003_20110822_092831_Vector.all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69478">
            <a:off x="2470413" y="-2770306"/>
            <a:ext cx="3605901" cy="934871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07504" y="5241974"/>
            <a:ext cx="75071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 smtClean="0"/>
              <a:t>Confirm the –r (rotate) option runs left to </a:t>
            </a:r>
            <a:r>
              <a:rPr lang="en-AU" dirty="0" smtClean="0"/>
              <a:t>right</a:t>
            </a:r>
          </a:p>
          <a:p>
            <a:r>
              <a:rPr lang="en-AU" dirty="0" smtClean="0"/>
              <a:t>Auto stretch in across track axis to approximate real world pixel isometry</a:t>
            </a:r>
            <a:endParaRPr lang="en-AU" dirty="0"/>
          </a:p>
        </p:txBody>
      </p:sp>
      <p:sp>
        <p:nvSpPr>
          <p:cNvPr id="14" name="Rounded Rectangular Callout 13"/>
          <p:cNvSpPr/>
          <p:nvPr/>
        </p:nvSpPr>
        <p:spPr>
          <a:xfrm>
            <a:off x="7539724" y="969708"/>
            <a:ext cx="1440160" cy="921208"/>
          </a:xfrm>
          <a:prstGeom prst="wedgeRoundRectCallout">
            <a:avLst>
              <a:gd name="adj1" fmla="val -67924"/>
              <a:gd name="adj2" fmla="val 2941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/>
              <a:t>Conventional processed file with </a:t>
            </a:r>
            <a:r>
              <a:rPr lang="en-AU" sz="1400" dirty="0" err="1" smtClean="0"/>
              <a:t>lastools</a:t>
            </a:r>
            <a:r>
              <a:rPr lang="en-AU" sz="1400" dirty="0" smtClean="0"/>
              <a:t> </a:t>
            </a:r>
            <a:r>
              <a:rPr lang="en-AU" sz="1400" dirty="0" err="1" smtClean="0"/>
              <a:t>hillshading</a:t>
            </a:r>
            <a:endParaRPr lang="en-AU" sz="1400" dirty="0"/>
          </a:p>
        </p:txBody>
      </p:sp>
      <p:sp>
        <p:nvSpPr>
          <p:cNvPr id="15" name="Rounded Rectangular Callout 14"/>
          <p:cNvSpPr/>
          <p:nvPr/>
        </p:nvSpPr>
        <p:spPr>
          <a:xfrm>
            <a:off x="7524328" y="3083856"/>
            <a:ext cx="1440160" cy="921208"/>
          </a:xfrm>
          <a:prstGeom prst="wedgeRoundRectCallout">
            <a:avLst>
              <a:gd name="adj1" fmla="val -67924"/>
              <a:gd name="adj2" fmla="val 2941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/>
              <a:t>Python waterfall </a:t>
            </a:r>
            <a:r>
              <a:rPr lang="en-AU" sz="1400" dirty="0" err="1" smtClean="0"/>
              <a:t>hillshading</a:t>
            </a:r>
            <a:r>
              <a:rPr lang="en-AU" sz="1400" dirty="0" smtClean="0"/>
              <a:t> with </a:t>
            </a:r>
            <a:r>
              <a:rPr lang="en-AU" sz="1400" dirty="0" err="1" smtClean="0"/>
              <a:t>jeca</a:t>
            </a:r>
            <a:r>
              <a:rPr lang="en-AU" sz="1400" dirty="0" smtClean="0"/>
              <a:t> depth palette </a:t>
            </a:r>
            <a:endParaRPr lang="en-AU" sz="1400" dirty="0"/>
          </a:p>
        </p:txBody>
      </p:sp>
    </p:spTree>
    <p:extLst>
      <p:ext uri="{BB962C8B-B14F-4D97-AF65-F5344CB8AC3E}">
        <p14:creationId xmlns:p14="http://schemas.microsoft.com/office/powerpoint/2010/main" val="40051024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m2000-0005-vsm3_15-20151123-023334.all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579072">
            <a:off x="4003516" y="-2825736"/>
            <a:ext cx="1136969" cy="82981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637" y="1958452"/>
            <a:ext cx="8312727" cy="832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4178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m2000-0005-vsm3_15-20151123-023334.all</a:t>
            </a:r>
            <a:endParaRPr lang="en-GB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579072">
            <a:off x="-5772501" y="-10900214"/>
            <a:ext cx="3568299" cy="2604324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102408" y="3782304"/>
            <a:ext cx="26088898" cy="261241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3706759" y="-1612705"/>
            <a:ext cx="2950719" cy="7708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3570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2779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4&quot;&gt;&lt;elem m_fUsage=&quot;3.43900000000000010000E+000&quot;&gt;&lt;m_msothmcolidx val=&quot;0&quot;/&gt;&lt;m_rgb r=&quot;43&quot; g=&quot;7c&quot; b=&quot;92&quot;/&gt;&lt;m_ppcolschidx tagver0=&quot;23004&quot; tagname0=&quot;m_ppcolschidxUNRECOGNIZED&quot; val=&quot;0&quot;/&gt;&lt;m_nBrightness val=&quot;0&quot;/&gt;&lt;/elem&gt;&lt;elem m_fUsage=&quot;1.77803100000000010000E+000&quot;&gt;&lt;m_msothmcolidx val=&quot;0&quot;/&gt;&lt;m_rgb r=&quot;da&quot; g=&quot;be&quot; b=&quot;86&quot;/&gt;&lt;m_ppcolschidx tagver0=&quot;23004&quot; tagname0=&quot;m_ppcolschidxUNRECOGNIZED&quot; val=&quot;0&quot;/&gt;&lt;m_nBrightness val=&quot;0&quot;/&gt;&lt;/elem&gt;&lt;elem m_fUsage=&quot;1.29618459900000030000E+000&quot;&gt;&lt;m_msothmcolidx val=&quot;0&quot;/&gt;&lt;m_rgb r=&quot;dd&quot; g=&quot;e2&quot; b=&quot;e7&quot;/&gt;&lt;m_ppcolschidx tagver0=&quot;23004&quot; tagname0=&quot;m_ppcolschidxUNRECOGNIZED&quot; val=&quot;0&quot;/&gt;&lt;m_nBrightness val=&quot;0&quot;/&gt;&lt;/elem&gt;&lt;elem m_fUsage=&quot;6.62489036190000100000E-001&quot;&gt;&lt;m_msothmcolidx val=&quot;0&quot;/&gt;&lt;m_rgb r=&quot;ce&quot; g=&quot;0&quot; b=&quot;0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UGRO DEF">
      <a:dk1>
        <a:sysClr val="windowText" lastClr="000000"/>
      </a:dk1>
      <a:lt1>
        <a:sysClr val="window" lastClr="FFFFFF"/>
      </a:lt1>
      <a:dk2>
        <a:srgbClr val="3C6C82"/>
      </a:dk2>
      <a:lt2>
        <a:srgbClr val="FFFFFF"/>
      </a:lt2>
      <a:accent1>
        <a:srgbClr val="3FA0D4"/>
      </a:accent1>
      <a:accent2>
        <a:srgbClr val="47994B"/>
      </a:accent2>
      <a:accent3>
        <a:srgbClr val="88BA14"/>
      </a:accent3>
      <a:accent4>
        <a:srgbClr val="437C92"/>
      </a:accent4>
      <a:accent5>
        <a:srgbClr val="0AABA4"/>
      </a:accent5>
      <a:accent6>
        <a:srgbClr val="DABE86"/>
      </a:accent6>
      <a:hlink>
        <a:srgbClr val="3FA0D4"/>
      </a:hlink>
      <a:folHlink>
        <a:srgbClr val="437C92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s-powerpoint-templates-regular.potx" id="{F8B8C427-2762-4C95-8DD1-CEAE5D497527}" vid="{2F175E2C-BB19-49F9-8C64-DB2DE45D6E80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980</TotalTime>
  <Words>54</Words>
  <Application>Microsoft Office PowerPoint</Application>
  <PresentationFormat>On-screen Show (4:3)</PresentationFormat>
  <Paragraphs>14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Blank</vt:lpstr>
      <vt:lpstr>think-cell Slide</vt:lpstr>
      <vt:lpstr>pyAllHillShadedWaterfall</vt:lpstr>
      <vt:lpstr>EM710 Sample: 0003_20110822_092831_Vector.all</vt:lpstr>
      <vt:lpstr>em2000-0005-vsm3_15-20151123-023334.all</vt:lpstr>
      <vt:lpstr>em2000-0005-vsm3_15-20151123-023334.all</vt:lpstr>
      <vt:lpstr>PowerPoint Presentation</vt:lpstr>
    </vt:vector>
  </TitlesOfParts>
  <Company>Fugro Survey Pty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nnedy, Paul</dc:creator>
  <cp:lastModifiedBy>Kennedy, Paul</cp:lastModifiedBy>
  <cp:revision>40</cp:revision>
  <cp:lastPrinted>2014-07-03T06:58:13Z</cp:lastPrinted>
  <dcterms:created xsi:type="dcterms:W3CDTF">2016-06-19T03:12:04Z</dcterms:created>
  <dcterms:modified xsi:type="dcterms:W3CDTF">2016-09-09T10:44:52Z</dcterms:modified>
</cp:coreProperties>
</file>